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8" r:id="rId2"/>
    <p:sldId id="262" r:id="rId3"/>
    <p:sldId id="286" r:id="rId4"/>
    <p:sldId id="263" r:id="rId5"/>
    <p:sldId id="264" r:id="rId6"/>
    <p:sldId id="270" r:id="rId7"/>
    <p:sldId id="265" r:id="rId8"/>
    <p:sldId id="266" r:id="rId9"/>
    <p:sldId id="267" r:id="rId10"/>
    <p:sldId id="281" r:id="rId11"/>
    <p:sldId id="282" r:id="rId12"/>
    <p:sldId id="268" r:id="rId13"/>
    <p:sldId id="269" r:id="rId14"/>
    <p:sldId id="271" r:id="rId15"/>
    <p:sldId id="272" r:id="rId16"/>
    <p:sldId id="273" r:id="rId17"/>
    <p:sldId id="284" r:id="rId18"/>
    <p:sldId id="274" r:id="rId19"/>
    <p:sldId id="275" r:id="rId20"/>
    <p:sldId id="278" r:id="rId21"/>
    <p:sldId id="283" r:id="rId22"/>
    <p:sldId id="276" r:id="rId23"/>
    <p:sldId id="277" r:id="rId24"/>
    <p:sldId id="279" r:id="rId25"/>
  </p:sldIdLst>
  <p:sldSz cx="9144000" cy="6858000" type="screen4x3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571347A-8AD6-4CF6-B1A0-5BF3CDDCFEF4}">
          <p14:sldIdLst>
            <p14:sldId id="258"/>
            <p14:sldId id="262"/>
            <p14:sldId id="286"/>
            <p14:sldId id="263"/>
            <p14:sldId id="264"/>
            <p14:sldId id="270"/>
            <p14:sldId id="265"/>
            <p14:sldId id="266"/>
            <p14:sldId id="267"/>
            <p14:sldId id="281"/>
            <p14:sldId id="282"/>
            <p14:sldId id="268"/>
            <p14:sldId id="269"/>
            <p14:sldId id="271"/>
            <p14:sldId id="272"/>
            <p14:sldId id="273"/>
            <p14:sldId id="284"/>
            <p14:sldId id="274"/>
            <p14:sldId id="275"/>
            <p14:sldId id="278"/>
            <p14:sldId id="283"/>
            <p14:sldId id="276"/>
            <p14:sldId id="277"/>
            <p14:sldId id="27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>
        <p:scale>
          <a:sx n="100" d="100"/>
          <a:sy n="100" d="100"/>
        </p:scale>
        <p:origin x="-1932" y="-31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1/06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6118F-A998-4549-80E2-08F643214473}" type="datetimeFigureOut">
              <a:rPr lang="sv-SE" smtClean="0"/>
              <a:t>2017-06-21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89E9BD-F911-403B-A154-80AB15A588B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9184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E9BD-F911-403B-A154-80AB15A588BE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429991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89E9BD-F911-403B-A154-80AB15A588BE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12816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656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88EDBF6-B3F5-47CA-B49C-228617B621D9}" type="datetime1">
              <a:rPr lang="sv-SE" smtClean="0"/>
              <a:t>2017-06-21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656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68E35512-A52B-40D9-9D8A-A1E9F7862CC4}" type="datetime1">
              <a:rPr lang="sv-SE" smtClean="0"/>
              <a:t>2017-06-21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8E19C8B0-C346-4967-9B36-E191B3D5BA61}" type="datetime1">
              <a:rPr lang="sv-SE" smtClean="0"/>
              <a:t>2017-06-2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F340E33-9C49-431C-BEBF-C50AE6A9E93A}" type="datetime1">
              <a:rPr lang="sv-SE" smtClean="0"/>
              <a:t>2017-06-2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F629514-37E3-4EE4-8D9C-3E16C899A7D4}" type="datetime1">
              <a:rPr lang="sv-SE" smtClean="0"/>
              <a:t>2017-06-21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96551B8-CE4E-42B3-A0DF-506889B5D9E9}" type="datetime1">
              <a:rPr lang="sv-SE" smtClean="0"/>
              <a:t>2017-06-2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7E3030EB-0363-470E-BC7B-C9E62AD01E33}" type="datetime1">
              <a:rPr lang="sv-SE" smtClean="0"/>
              <a:t>2017-06-2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12360712-81E0-4BDC-9225-894C0476ED89}" type="datetime1">
              <a:rPr lang="sv-SE" smtClean="0"/>
              <a:t>2017-06-21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E19A7916-D4E9-48E1-B57D-31BDF0CE4763}" type="datetime1">
              <a:rPr lang="sv-SE" smtClean="0"/>
              <a:t>2017-06-21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656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Safety-critical Control in Mixed Criticality Embedded Systems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A Study on Mixed Criticality in the Automotive Industry</a:t>
            </a:r>
            <a:endParaRPr lang="sv-SE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lten MCS – Processor switching st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619250" y="4591050"/>
            <a:ext cx="6467475" cy="698499"/>
          </a:xfrm>
        </p:spPr>
        <p:txBody>
          <a:bodyPr/>
          <a:lstStyle/>
          <a:p>
            <a:r>
              <a:rPr lang="sv-SE" dirty="0" smtClean="0"/>
              <a:t>Mode switch takes ~2 </a:t>
            </a:r>
            <a:r>
              <a:rPr lang="el-GR" dirty="0" smtClean="0"/>
              <a:t>μ</a:t>
            </a:r>
            <a:r>
              <a:rPr lang="sv-SE" dirty="0" smtClean="0"/>
              <a:t>s</a:t>
            </a:r>
            <a:endParaRPr lang="sv-SE" dirty="0" smtClean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274" y="2459449"/>
            <a:ext cx="7385625" cy="159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66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lten MCS – Processor switching st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619250" y="4591050"/>
            <a:ext cx="6467475" cy="698499"/>
          </a:xfrm>
        </p:spPr>
        <p:txBody>
          <a:bodyPr/>
          <a:lstStyle/>
          <a:p>
            <a:r>
              <a:rPr lang="sv-SE" dirty="0" smtClean="0"/>
              <a:t>Theoretical maximum frequency of 250 kHz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274" y="2459449"/>
            <a:ext cx="7385625" cy="159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44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earch question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s virtualization a good approach </a:t>
            </a:r>
            <a:r>
              <a:rPr lang="en-US" dirty="0"/>
              <a:t>when trying to reconcile</a:t>
            </a:r>
          </a:p>
          <a:p>
            <a:r>
              <a:rPr lang="en-US" dirty="0"/>
              <a:t>the conflicting requirements of partitioning for safety </a:t>
            </a:r>
            <a:r>
              <a:rPr lang="en-US" dirty="0" smtClean="0"/>
              <a:t>assurance and </a:t>
            </a:r>
            <a:r>
              <a:rPr lang="en-US" dirty="0"/>
              <a:t>sharing for efficient resource usage when </a:t>
            </a:r>
            <a:r>
              <a:rPr lang="en-US" dirty="0" smtClean="0"/>
              <a:t> implementing a safety-critical </a:t>
            </a:r>
            <a:r>
              <a:rPr lang="en-US" dirty="0"/>
              <a:t>control system?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4076700" cy="365125"/>
          </a:xfrm>
        </p:spPr>
        <p:txBody>
          <a:bodyPr/>
          <a:lstStyle/>
          <a:p>
            <a:r>
              <a:rPr lang="sv-SE" dirty="0" smtClean="0"/>
              <a:t>Research question and problem statement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1653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blem statemen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Implement the safety-critical applications required for platooning on a mixed criticality system and evaluate the performance of the processor in terms o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Missed deadlin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obustness of hypervis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PU utilization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3867150" cy="365125"/>
          </a:xfrm>
        </p:spPr>
        <p:txBody>
          <a:bodyPr/>
          <a:lstStyle/>
          <a:p>
            <a:r>
              <a:rPr lang="sv-SE" dirty="0"/>
              <a:t>Research question and problem statement</a:t>
            </a:r>
          </a:p>
          <a:p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7599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ystem overview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372" y="1401593"/>
            <a:ext cx="6935788" cy="4078286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Implementation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542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ystem overview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9156" y="1114408"/>
            <a:ext cx="6682202" cy="4753641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Implementation</a:t>
            </a:r>
            <a:endParaRPr lang="sv-SE" dirty="0"/>
          </a:p>
          <a:p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1258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cessor scheduling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2"/>
          <a:stretch/>
        </p:blipFill>
        <p:spPr>
          <a:xfrm>
            <a:off x="2579297" y="1185941"/>
            <a:ext cx="6305905" cy="4645515"/>
          </a:xfr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342601" y="1548235"/>
            <a:ext cx="2314331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 smtClean="0"/>
              <a:t>Data aggregation</a:t>
            </a:r>
          </a:p>
          <a:p>
            <a:endParaRPr lang="sv-SE" dirty="0"/>
          </a:p>
          <a:p>
            <a:r>
              <a:rPr lang="sv-SE" dirty="0" smtClean="0"/>
              <a:t>Communication</a:t>
            </a:r>
          </a:p>
          <a:p>
            <a:endParaRPr lang="sv-SE" dirty="0"/>
          </a:p>
          <a:p>
            <a:r>
              <a:rPr lang="sv-SE" dirty="0" smtClean="0"/>
              <a:t>Lateral control</a:t>
            </a:r>
          </a:p>
          <a:p>
            <a:endParaRPr lang="sv-SE" dirty="0"/>
          </a:p>
          <a:p>
            <a:r>
              <a:rPr lang="sv-SE" dirty="0" smtClean="0"/>
              <a:t>Longitudinal control</a:t>
            </a:r>
          </a:p>
          <a:p>
            <a:endParaRPr lang="sv-SE" dirty="0"/>
          </a:p>
          <a:p>
            <a:r>
              <a:rPr lang="sv-SE" dirty="0" smtClean="0"/>
              <a:t>OS switch</a:t>
            </a:r>
          </a:p>
          <a:p>
            <a:endParaRPr lang="sv-SE" dirty="0"/>
          </a:p>
          <a:p>
            <a:r>
              <a:rPr lang="sv-SE" dirty="0" smtClean="0"/>
              <a:t>GPOS</a:t>
            </a:r>
            <a:endParaRPr lang="sv-S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Implementation</a:t>
            </a:r>
            <a:endParaRPr lang="sv-SE" dirty="0"/>
          </a:p>
          <a:p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8366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Demonstrator demonstration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7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1308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OS switch execution tim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7568" y="1582739"/>
            <a:ext cx="3358167" cy="4078286"/>
          </a:xfrm>
        </p:spPr>
        <p:txBody>
          <a:bodyPr>
            <a:normAutofit fontScale="85000" lnSpcReduction="10000"/>
          </a:bodyPr>
          <a:lstStyle/>
          <a:p>
            <a:r>
              <a:rPr lang="sv-SE" b="1" dirty="0" smtClean="0"/>
              <a:t>WCET</a:t>
            </a:r>
          </a:p>
          <a:p>
            <a:r>
              <a:rPr lang="sv-SE" dirty="0" smtClean="0"/>
              <a:t>153 clock cycles</a:t>
            </a:r>
          </a:p>
          <a:p>
            <a:r>
              <a:rPr lang="sv-SE" dirty="0" smtClean="0"/>
              <a:t>3.06 </a:t>
            </a:r>
            <a:r>
              <a:rPr lang="el-GR" dirty="0" smtClean="0"/>
              <a:t>μ</a:t>
            </a:r>
            <a:r>
              <a:rPr lang="sv-SE" dirty="0" smtClean="0"/>
              <a:t>s</a:t>
            </a:r>
            <a:endParaRPr lang="sv-SE" dirty="0" smtClean="0"/>
          </a:p>
          <a:p>
            <a:endParaRPr lang="sv-SE" dirty="0"/>
          </a:p>
          <a:p>
            <a:r>
              <a:rPr lang="sv-SE" b="1" dirty="0" smtClean="0"/>
              <a:t>Median execution time</a:t>
            </a:r>
          </a:p>
          <a:p>
            <a:r>
              <a:rPr lang="sv-SE" dirty="0" smtClean="0"/>
              <a:t>86 clock cycles</a:t>
            </a:r>
          </a:p>
          <a:p>
            <a:r>
              <a:rPr lang="sv-SE" dirty="0" smtClean="0"/>
              <a:t>1.72 </a:t>
            </a:r>
            <a:r>
              <a:rPr lang="el-GR" dirty="0" smtClean="0"/>
              <a:t>μ</a:t>
            </a:r>
            <a:r>
              <a:rPr lang="sv-SE" dirty="0" smtClean="0"/>
              <a:t>s</a:t>
            </a:r>
            <a:endParaRPr lang="sv-SE" dirty="0" smtClean="0"/>
          </a:p>
          <a:p>
            <a:endParaRPr lang="sv-SE" dirty="0"/>
          </a:p>
          <a:p>
            <a:r>
              <a:rPr lang="sv-SE" dirty="0" smtClean="0"/>
              <a:t>1 kHz switching frequenc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TOS CPU utilization 0.005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Hypervisor overhead 0.6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ncreased total CPU utilization to potentially 99.4%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7467" y="1582188"/>
            <a:ext cx="4676533" cy="350740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840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PU utilization – WCET</a:t>
            </a:r>
            <a:endParaRPr lang="sv-S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477" y="1621881"/>
            <a:ext cx="5333333" cy="4000000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5110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esentation outline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Backgro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esearch question and problem stat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mplem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esul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onclu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Future work</a:t>
            </a:r>
            <a:endParaRPr lang="sv-S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PU utilization – Median execution time</a:t>
            </a:r>
            <a:endParaRPr lang="sv-SE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477" y="1621881"/>
            <a:ext cx="5333333" cy="4000000"/>
          </a:xfr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442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Hypervisor Robustnes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Fork bomb</a:t>
            </a:r>
          </a:p>
          <a:p>
            <a:endParaRPr lang="sv-SE" dirty="0"/>
          </a:p>
          <a:p>
            <a:r>
              <a:rPr lang="sv-SE" dirty="0" smtClean="0"/>
              <a:t>System maintained safety-critical functionality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1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Results</a:t>
            </a:r>
            <a:endParaRPr lang="sv-SE" dirty="0"/>
          </a:p>
        </p:txBody>
      </p:sp>
      <p:pic>
        <p:nvPicPr>
          <p:cNvPr id="2050" name="Picture 2" descr="https://upload.wikimedia.org/wikipedia/commons/thumb/5/52/Fork_bomb.svg/300px-Fork_bomb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175" y="2963862"/>
            <a:ext cx="2857500" cy="1762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972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onclusion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s virtualization </a:t>
            </a:r>
            <a:r>
              <a:rPr lang="en-US" dirty="0" smtClean="0"/>
              <a:t>a good approach </a:t>
            </a:r>
            <a:r>
              <a:rPr lang="en-US" dirty="0"/>
              <a:t>when trying to reconcile</a:t>
            </a:r>
          </a:p>
          <a:p>
            <a:r>
              <a:rPr lang="en-US" dirty="0"/>
              <a:t>the conflicting requirements of partitioning for safety assurance and sharing for efficient resource usage when  implementing a safety-critical control system?</a:t>
            </a:r>
            <a:endParaRPr lang="sv-SE" dirty="0"/>
          </a:p>
          <a:p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afe (only as safe as the hyperviso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nables efficient use of resource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fficient in the industry as a whol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Conclusion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1645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uture work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obustness of the hypervisor must be tested </a:t>
            </a:r>
            <a:r>
              <a:rPr lang="sv-SE" dirty="0" smtClean="0"/>
              <a:t>extensively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How many criticality levels would be necessar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alculate more </a:t>
            </a:r>
            <a:r>
              <a:rPr lang="sv-SE" dirty="0"/>
              <a:t>accurately </a:t>
            </a:r>
            <a:r>
              <a:rPr lang="sv-SE" dirty="0" smtClean="0"/>
              <a:t>the financial effects of M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Future work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2210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Questions?</a:t>
            </a:r>
            <a:endParaRPr lang="sv-SE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 smtClean="0"/>
              <a:t>References</a:t>
            </a:r>
            <a:endParaRPr lang="sv-SE" dirty="0"/>
          </a:p>
          <a:p>
            <a:pPr algn="just"/>
            <a:endParaRPr lang="sv-SE" sz="1300" dirty="0" smtClean="0"/>
          </a:p>
          <a:p>
            <a:pPr algn="just"/>
            <a:r>
              <a:rPr lang="sv-SE" sz="1300" dirty="0" smtClean="0"/>
              <a:t>[</a:t>
            </a:r>
            <a:r>
              <a:rPr lang="sv-SE" sz="1300" dirty="0"/>
              <a:t>1] https://www.artemis-emc2.eu/project_overview/ll1_automotive_applications/</a:t>
            </a:r>
          </a:p>
          <a:p>
            <a:pPr algn="just"/>
            <a:endParaRPr lang="sv-SE" sz="1300" dirty="0"/>
          </a:p>
          <a:p>
            <a:pPr algn="just"/>
            <a:r>
              <a:rPr lang="en-US" sz="1300" dirty="0" smtClean="0"/>
              <a:t>[2] </a:t>
            </a:r>
            <a:r>
              <a:rPr lang="en-US" sz="1300" dirty="0"/>
              <a:t>Road vehicles – functional safety – part 9: Automotive safety integrity level (</a:t>
            </a:r>
            <a:r>
              <a:rPr lang="en-US" sz="1300" dirty="0" err="1"/>
              <a:t>asil</a:t>
            </a:r>
            <a:r>
              <a:rPr lang="en-US" sz="1300" dirty="0"/>
              <a:t>)-</a:t>
            </a:r>
            <a:r>
              <a:rPr lang="en-US" sz="1300" dirty="0" smtClean="0"/>
              <a:t>oriented and </a:t>
            </a:r>
            <a:r>
              <a:rPr lang="en-US" sz="1300" dirty="0"/>
              <a:t>safety-oriented analyses. Standard, International Organization for </a:t>
            </a:r>
            <a:r>
              <a:rPr lang="en-US" sz="1300" dirty="0" smtClean="0"/>
              <a:t>Standardization, Geneva</a:t>
            </a:r>
            <a:r>
              <a:rPr lang="en-US" sz="1300" dirty="0"/>
              <a:t>, CH, November 2011.</a:t>
            </a:r>
            <a:endParaRPr lang="sv-SE" sz="1300" dirty="0"/>
          </a:p>
          <a:p>
            <a:pPr algn="just"/>
            <a:endParaRPr lang="sv-SE" sz="1300" dirty="0" smtClean="0"/>
          </a:p>
          <a:p>
            <a:pPr algn="just"/>
            <a:r>
              <a:rPr lang="en-US" sz="1300" dirty="0" smtClean="0"/>
              <a:t>[3] </a:t>
            </a:r>
            <a:r>
              <a:rPr lang="en-US" sz="1300" dirty="0"/>
              <a:t>Youssef </a:t>
            </a:r>
            <a:r>
              <a:rPr lang="en-US" sz="1300" dirty="0" err="1"/>
              <a:t>Zaki</a:t>
            </a:r>
            <a:r>
              <a:rPr lang="en-US" sz="1300" dirty="0"/>
              <a:t>. An embedded multi-core platform for mixed-criticality systems: Study and analysis </a:t>
            </a:r>
            <a:r>
              <a:rPr lang="en-US" sz="1300" dirty="0" smtClean="0"/>
              <a:t>of virtualization </a:t>
            </a:r>
            <a:r>
              <a:rPr lang="en-US" sz="1300" dirty="0"/>
              <a:t>techniques. Master’s thesis, KTH, School of Information </a:t>
            </a:r>
            <a:r>
              <a:rPr lang="en-US" sz="1300" dirty="0" smtClean="0"/>
              <a:t>and communication </a:t>
            </a:r>
            <a:r>
              <a:rPr lang="en-US" sz="1300" dirty="0"/>
              <a:t>Technology (ICT), 2016</a:t>
            </a:r>
            <a:r>
              <a:rPr lang="en-US" sz="1300" dirty="0" smtClean="0"/>
              <a:t>.</a:t>
            </a:r>
          </a:p>
          <a:p>
            <a:pPr algn="just"/>
            <a:endParaRPr lang="en-US" sz="1300" dirty="0"/>
          </a:p>
          <a:p>
            <a:pPr algn="just"/>
            <a:r>
              <a:rPr lang="en-US" sz="1300" dirty="0" smtClean="0"/>
              <a:t>[4] </a:t>
            </a:r>
            <a:r>
              <a:rPr lang="en-US" sz="1300" dirty="0"/>
              <a:t>Alan Burns and Robert I. Davis. Mixed criticality systems - a review. July </a:t>
            </a:r>
            <a:r>
              <a:rPr lang="en-US" sz="1300" dirty="0" smtClean="0"/>
              <a:t>2016</a:t>
            </a:r>
          </a:p>
          <a:p>
            <a:pPr algn="just"/>
            <a:endParaRPr lang="en-US" sz="1300" dirty="0"/>
          </a:p>
          <a:p>
            <a:pPr algn="just"/>
            <a:r>
              <a:rPr lang="en-US" sz="1300" dirty="0" smtClean="0"/>
              <a:t>[5] </a:t>
            </a:r>
            <a:r>
              <a:rPr lang="en-US" sz="1300" dirty="0"/>
              <a:t>Steve Vestal. Preemptive scheduling of multi-criticality systems with </a:t>
            </a:r>
            <a:r>
              <a:rPr lang="en-US" sz="1300" dirty="0" smtClean="0"/>
              <a:t>varying degrees </a:t>
            </a:r>
            <a:r>
              <a:rPr lang="en-US" sz="1300" dirty="0"/>
              <a:t>of execution time assurance, 2007</a:t>
            </a:r>
            <a:r>
              <a:rPr lang="en-US" sz="1300" dirty="0" smtClean="0"/>
              <a:t>.</a:t>
            </a:r>
          </a:p>
          <a:p>
            <a:pPr algn="just"/>
            <a:endParaRPr lang="en-US" sz="1300" dirty="0"/>
          </a:p>
          <a:p>
            <a:pPr algn="just"/>
            <a:r>
              <a:rPr lang="en-US" sz="1300" dirty="0" smtClean="0"/>
              <a:t>[6] </a:t>
            </a:r>
            <a:r>
              <a:rPr lang="en-US" sz="1300" dirty="0" err="1"/>
              <a:t>Sanjoy</a:t>
            </a:r>
            <a:r>
              <a:rPr lang="en-US" sz="1300" dirty="0"/>
              <a:t> </a:t>
            </a:r>
            <a:r>
              <a:rPr lang="en-US" sz="1300" dirty="0" err="1"/>
              <a:t>Baruah</a:t>
            </a:r>
            <a:r>
              <a:rPr lang="en-US" sz="1300" dirty="0"/>
              <a:t> and Steve Vestal. </a:t>
            </a:r>
            <a:r>
              <a:rPr lang="en-US" sz="1300" dirty="0" err="1"/>
              <a:t>Schedulability</a:t>
            </a:r>
            <a:r>
              <a:rPr lang="en-US" sz="1300" dirty="0"/>
              <a:t> analysis of sporadic tasks </a:t>
            </a:r>
            <a:r>
              <a:rPr lang="en-US" sz="1300" dirty="0" smtClean="0"/>
              <a:t>with </a:t>
            </a:r>
            <a:r>
              <a:rPr lang="sv-SE" sz="1300" dirty="0" smtClean="0"/>
              <a:t>multiple criticality </a:t>
            </a:r>
            <a:r>
              <a:rPr lang="sv-SE" sz="1300" dirty="0"/>
              <a:t>specifications, 2008</a:t>
            </a:r>
            <a:r>
              <a:rPr lang="sv-SE" sz="1300" dirty="0" smtClean="0"/>
              <a:t>.</a:t>
            </a:r>
            <a:endParaRPr lang="sv-SE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8622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ject group 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Develop a demonstrator that simulates </a:t>
            </a:r>
            <a:r>
              <a:rPr lang="sv-SE" dirty="0" smtClean="0"/>
              <a:t>platoo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Five master thesis students</a:t>
            </a:r>
          </a:p>
          <a:p>
            <a:pPr marL="698500" lvl="1" indent="-342900"/>
            <a:r>
              <a:rPr lang="sv-SE" dirty="0" smtClean="0"/>
              <a:t>Control theory</a:t>
            </a:r>
          </a:p>
          <a:p>
            <a:pPr marL="698500" lvl="1" indent="-342900"/>
            <a:r>
              <a:rPr lang="sv-SE" dirty="0" smtClean="0"/>
              <a:t>Lane detection</a:t>
            </a:r>
          </a:p>
          <a:p>
            <a:pPr marL="698500" lvl="1" indent="-342900"/>
            <a:r>
              <a:rPr lang="sv-SE" dirty="0" smtClean="0"/>
              <a:t>Data aggregation</a:t>
            </a:r>
          </a:p>
          <a:p>
            <a:pPr marL="698500" lvl="1" indent="-342900"/>
            <a:r>
              <a:rPr lang="sv-SE" dirty="0" smtClean="0"/>
              <a:t>Communication</a:t>
            </a:r>
          </a:p>
          <a:p>
            <a:pPr marL="698500" lvl="1" indent="-342900"/>
            <a:r>
              <a:rPr lang="sv-SE" dirty="0" smtClean="0"/>
              <a:t>Safety-critical control in M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6012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ixed criticality system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49" y="1582739"/>
            <a:ext cx="3533776" cy="4078286"/>
          </a:xfrm>
        </p:spPr>
        <p:txBody>
          <a:bodyPr/>
          <a:lstStyle/>
          <a:p>
            <a:r>
              <a:rPr lang="sv-SE" dirty="0" smtClean="0"/>
              <a:t>Modern cars have ~100 EC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lear separation between fun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nefficient resource usage</a:t>
            </a:r>
          </a:p>
          <a:p>
            <a:endParaRPr lang="sv-SE" dirty="0" smtClean="0"/>
          </a:p>
          <a:p>
            <a:r>
              <a:rPr lang="sv-SE" dirty="0" smtClean="0"/>
              <a:t>Moving toward MCS would mea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fficient resource us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Difficult to separate functions of different critica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0174" y="1645195"/>
            <a:ext cx="3762375" cy="3699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005386" y="5344638"/>
            <a:ext cx="40433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Illustration of combining applications to reduce ECUs [1].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1072887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ISO 26262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Four different Automotive Safety Integrity Levels, ASILs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7026" y="2171699"/>
            <a:ext cx="3867150" cy="334676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114551" y="5489892"/>
            <a:ext cx="5372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Table of ASIL as a function of Severity, Probability an Controllability [3]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393608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cheduler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eve Vestal showed that neither RM nor DM was optimal when criticality levels are introduced.</a:t>
            </a:r>
          </a:p>
          <a:p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anjoy Baruah and Steve Vestal showed that EDF does not dominate FP in mixed criticality systems.</a:t>
            </a:r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7884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lten MCS</a:t>
            </a:r>
            <a:endParaRPr lang="sv-SE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374" y="1164768"/>
            <a:ext cx="4191276" cy="4351340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367" y="1316069"/>
            <a:ext cx="2227894" cy="1799721"/>
          </a:xfrm>
          <a:prstGeom prst="rect">
            <a:avLst/>
          </a:prstGeom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12" name="TextBox 11"/>
          <p:cNvSpPr txBox="1"/>
          <p:nvPr/>
        </p:nvSpPr>
        <p:spPr>
          <a:xfrm>
            <a:off x="2100303" y="5409426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Alten MCS overview [3]</a:t>
            </a:r>
            <a:endParaRPr lang="sv-SE" sz="1200" dirty="0"/>
          </a:p>
        </p:txBody>
      </p:sp>
      <p:pic>
        <p:nvPicPr>
          <p:cNvPr id="3074" name="Picture 2" descr="Bildresultat för emc2 zynq artemi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881" y="3895761"/>
            <a:ext cx="2408869" cy="1513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670182" y="5409426"/>
            <a:ext cx="8242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EMC2DP</a:t>
            </a:r>
            <a:endParaRPr lang="sv-SE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6670182" y="3115790"/>
            <a:ext cx="840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Zedboard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409069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lten MCS – Processor switching state</a:t>
            </a:r>
            <a:endParaRPr lang="sv-SE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114" y="1582738"/>
            <a:ext cx="4618060" cy="4078287"/>
          </a:xfrm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sp>
        <p:nvSpPr>
          <p:cNvPr id="9" name="TextBox 8"/>
          <p:cNvSpPr txBox="1"/>
          <p:nvPr/>
        </p:nvSpPr>
        <p:spPr>
          <a:xfrm>
            <a:off x="2828925" y="5600700"/>
            <a:ext cx="21387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smtClean="0"/>
              <a:t>Processor boot sequence [3]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19912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lten MCS – Processor switching st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619250" y="4591050"/>
            <a:ext cx="6467475" cy="698499"/>
          </a:xfrm>
        </p:spPr>
        <p:txBody>
          <a:bodyPr/>
          <a:lstStyle/>
          <a:p>
            <a:r>
              <a:rPr lang="sv-SE" dirty="0" smtClean="0"/>
              <a:t>Mode switch takes ~2 </a:t>
            </a:r>
            <a:r>
              <a:rPr lang="el-GR" dirty="0" smtClean="0"/>
              <a:t>μ</a:t>
            </a:r>
            <a:r>
              <a:rPr lang="sv-SE" dirty="0" smtClean="0"/>
              <a:t>s</a:t>
            </a:r>
            <a:endParaRPr lang="sv-SE" dirty="0" smtClean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Background</a:t>
            </a:r>
            <a:endParaRPr lang="sv-S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273" y="2459449"/>
            <a:ext cx="7385627" cy="159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18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rey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rey</Template>
  <TotalTime>985</TotalTime>
  <Words>637</Words>
  <Application>Microsoft Office PowerPoint</Application>
  <PresentationFormat>On-screen Show (4:3)</PresentationFormat>
  <Paragraphs>160</Paragraphs>
  <Slides>2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KTH_PPT template 2014 grey</vt:lpstr>
      <vt:lpstr>think-cell Slide</vt:lpstr>
      <vt:lpstr>Safety-critical Control in Mixed Criticality Embedded Systems</vt:lpstr>
      <vt:lpstr>Presentation outline</vt:lpstr>
      <vt:lpstr>Project group </vt:lpstr>
      <vt:lpstr>Mixed criticality systems</vt:lpstr>
      <vt:lpstr>ISO 26262</vt:lpstr>
      <vt:lpstr>Schedulers</vt:lpstr>
      <vt:lpstr>Alten MCS</vt:lpstr>
      <vt:lpstr>Alten MCS – Processor switching state</vt:lpstr>
      <vt:lpstr>Alten MCS – Processor switching state</vt:lpstr>
      <vt:lpstr>Alten MCS – Processor switching state</vt:lpstr>
      <vt:lpstr>Alten MCS – Processor switching state</vt:lpstr>
      <vt:lpstr>Research question</vt:lpstr>
      <vt:lpstr>Problem statement</vt:lpstr>
      <vt:lpstr>System overview</vt:lpstr>
      <vt:lpstr>System overview</vt:lpstr>
      <vt:lpstr>Processor scheduling</vt:lpstr>
      <vt:lpstr>Demonstrator demonstration</vt:lpstr>
      <vt:lpstr>OS switch execution times</vt:lpstr>
      <vt:lpstr>CPU utilization – WCET</vt:lpstr>
      <vt:lpstr>CPU utilization – Median execution time</vt:lpstr>
      <vt:lpstr>Hypervisor Robustness</vt:lpstr>
      <vt:lpstr>Conclusion</vt:lpstr>
      <vt:lpstr>Future work</vt:lpstr>
      <vt:lpstr>Questions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fety-critical Control in Mixed Criticality Embedded Systems</dc:title>
  <dc:creator>Emil</dc:creator>
  <cp:lastModifiedBy>Emil</cp:lastModifiedBy>
  <cp:revision>31</cp:revision>
  <cp:lastPrinted>2013-05-27T09:10:21Z</cp:lastPrinted>
  <dcterms:created xsi:type="dcterms:W3CDTF">2017-06-19T21:03:25Z</dcterms:created>
  <dcterms:modified xsi:type="dcterms:W3CDTF">2017-06-21T08:19:01Z</dcterms:modified>
</cp:coreProperties>
</file>